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9" r:id="rId2"/>
  </p:sldMasterIdLst>
  <p:notesMasterIdLst>
    <p:notesMasterId r:id="rId7"/>
  </p:notesMasterIdLst>
  <p:sldIdLst>
    <p:sldId id="3343" r:id="rId3"/>
    <p:sldId id="3346" r:id="rId4"/>
    <p:sldId id="3344" r:id="rId5"/>
    <p:sldId id="334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74"/>
    <p:restoredTop sz="94710"/>
  </p:normalViewPr>
  <p:slideViewPr>
    <p:cSldViewPr snapToGrid="0">
      <p:cViewPr varScale="1">
        <p:scale>
          <a:sx n="128" d="100"/>
          <a:sy n="128" d="100"/>
        </p:scale>
        <p:origin x="65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9B039-4B8E-4EF0-876B-DDFFA53D6CD6}" type="datetimeFigureOut">
              <a:rPr lang="en-US" smtClean="0"/>
              <a:t>9/28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FF33DF-647A-466E-8794-CA5103F24B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000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262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84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2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4258178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91606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65578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4007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071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820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9/28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43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735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63040" y="4717354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3040" y="3958717"/>
            <a:ext cx="10130936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770137"/>
            <a:ext cx="10130936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04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574054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10972800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Bullet level 1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576628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89196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22061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4885097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20957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7441022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05695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943623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martArt Placeholder 8"/>
          <p:cNvSpPr>
            <a:spLocks noGrp="1" noChangeAspect="1"/>
          </p:cNvSpPr>
          <p:nvPr>
            <p:ph type="dgm" sz="quarter" idx="12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883091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martArt Placeholder 3"/>
          <p:cNvSpPr>
            <a:spLocks noGrp="1" noChangeAspect="1"/>
          </p:cNvSpPr>
          <p:nvPr>
            <p:ph type="dgm" sz="quarter" idx="13"/>
          </p:nvPr>
        </p:nvSpPr>
        <p:spPr>
          <a:xfrm>
            <a:off x="605373" y="1463040"/>
            <a:ext cx="10977033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SmartArt graphic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653349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 noChangeAspect="1"/>
          </p:cNvSpPr>
          <p:nvPr>
            <p:ph type="chart" sz="quarter" idx="14"/>
          </p:nvPr>
        </p:nvSpPr>
        <p:spPr>
          <a:xfrm>
            <a:off x="605367" y="1463040"/>
            <a:ext cx="10972800" cy="4572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1009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le Placeholder 7"/>
          <p:cNvSpPr>
            <a:spLocks noGrp="1"/>
          </p:cNvSpPr>
          <p:nvPr>
            <p:ph type="tbl" sz="quarter" idx="15"/>
          </p:nvPr>
        </p:nvSpPr>
        <p:spPr>
          <a:xfrm>
            <a:off x="609600" y="1463040"/>
            <a:ext cx="10972800" cy="4876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5479"/>
            <a:ext cx="10972800" cy="1143000"/>
          </a:xfrm>
        </p:spPr>
        <p:txBody>
          <a:bodyPr anchor="t"/>
          <a:lstStyle/>
          <a:p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733304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60960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6"/>
          <p:cNvSpPr>
            <a:spLocks noGrp="1" noChangeAspect="1"/>
          </p:cNvSpPr>
          <p:nvPr>
            <p:ph type="chart" sz="quarter" idx="11"/>
          </p:nvPr>
        </p:nvSpPr>
        <p:spPr>
          <a:xfrm>
            <a:off x="609600" y="2036064"/>
            <a:ext cx="548640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89888"/>
            <a:ext cx="54864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905155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094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97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DCDDB0-F1A2-4E19-9777-2B52D7F56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9" imgH="627" progId="TCLayout.ActiveDocument.1">
                  <p:embed/>
                </p:oleObj>
              </mc:Choice>
              <mc:Fallback>
                <p:oleObj name="think-cell Slide" r:id="rId3" imgW="629" imgH="6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DCDDB0-F1A2-4E19-9777-2B52D7F56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26DD-6D21-4DEB-A03A-1FAC2BEBD4BE}" type="datetimeFigureOut">
              <a:rPr lang="en-US" smtClean="0"/>
              <a:t>9/28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683F7-1838-44C1-A3C7-3B4474FEF1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870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099887"/>
            <a:ext cx="10363200" cy="893215"/>
          </a:xfr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2573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7601"/>
            <a:ext cx="10363200" cy="464735"/>
          </a:xfrm>
        </p:spPr>
        <p:txBody>
          <a:bodyPr anchor="b">
            <a:normAutofit/>
          </a:bodyPr>
          <a:lstStyle>
            <a:lvl1pPr marL="0" indent="0">
              <a:buNone/>
              <a:defRPr sz="1800">
                <a:solidFill>
                  <a:srgbClr val="57819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067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609600" y="3449589"/>
            <a:ext cx="10972800" cy="6752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733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300243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84620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238132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Headers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193538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389443"/>
            <a:ext cx="5389033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2029968"/>
            <a:ext cx="5388864" cy="438912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Keep text size consistent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53217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3 Headers +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9248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267200" y="1389889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89443"/>
            <a:ext cx="36576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267200" y="2029206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 baseline="0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929880" y="2029969"/>
            <a:ext cx="3657600" cy="4327145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3733"/>
            </a:lvl1pPr>
            <a:lvl2pPr marL="914377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200"/>
            </a:lvl2pPr>
            <a:lvl3pPr marL="1219170" indent="-609585">
              <a:lnSpc>
                <a:spcPct val="110000"/>
              </a:lnSpc>
              <a:buFont typeface="Wingdings" panose="05000000000000000000" pitchFamily="2" charset="2"/>
              <a:buChar char="§"/>
              <a:defRPr sz="2667"/>
            </a:lvl3pPr>
            <a:lvl4pPr marL="1523962" indent="-609585">
              <a:lnSpc>
                <a:spcPct val="110000"/>
              </a:lnSpc>
              <a:buFont typeface="Arial" panose="020B0604020202020204" pitchFamily="34" charset="0"/>
              <a:buChar char="-"/>
              <a:defRPr sz="26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2027116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Header + Tex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6"/>
          <p:cNvSpPr>
            <a:spLocks noGrp="1" noChangeAspect="1"/>
          </p:cNvSpPr>
          <p:nvPr>
            <p:ph type="dgm" sz="quarter" idx="14"/>
          </p:nvPr>
        </p:nvSpPr>
        <p:spPr>
          <a:xfrm>
            <a:off x="5608320" y="2036064"/>
            <a:ext cx="5974080" cy="411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3060" y="1389888"/>
            <a:ext cx="4876800" cy="639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733" b="1" baseline="0">
                <a:solidFill>
                  <a:srgbClr val="2573BA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Add tex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2" y="2036064"/>
            <a:ext cx="4880260" cy="41148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  <a:p>
            <a:pPr lvl="3"/>
            <a:r>
              <a:rPr lang="en-US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4282346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 noChangeAspect="1"/>
          </p:cNvSpPr>
          <p:nvPr>
            <p:ph type="chart" sz="quarter" idx="10"/>
          </p:nvPr>
        </p:nvSpPr>
        <p:spPr>
          <a:xfrm>
            <a:off x="5608320" y="1463040"/>
            <a:ext cx="597408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733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09600" y="1463040"/>
            <a:ext cx="4876800" cy="4572000"/>
          </a:xfrm>
          <a:prstGeom prst="rect">
            <a:avLst/>
          </a:prstGeom>
        </p:spPr>
        <p:txBody>
          <a:bodyPr/>
          <a:lstStyle>
            <a:lvl1pPr marL="609585" indent="-609585">
              <a:lnSpc>
                <a:spcPct val="110000"/>
              </a:lnSpc>
              <a:buFont typeface="Arial" panose="020B0604020202020204" pitchFamily="34" charset="0"/>
              <a:buChar char="•"/>
              <a:defRPr sz="4267"/>
            </a:lvl1pPr>
            <a:lvl2pPr marL="1219170" indent="-609585">
              <a:lnSpc>
                <a:spcPct val="110000"/>
              </a:lnSpc>
              <a:buFont typeface="Courier New" panose="02070309020205020404" pitchFamily="49" charset="0"/>
              <a:buChar char="o"/>
              <a:defRPr sz="3733"/>
            </a:lvl2pPr>
            <a:lvl3pPr marL="1828754" indent="-609585">
              <a:lnSpc>
                <a:spcPct val="110000"/>
              </a:lnSpc>
              <a:buFont typeface="Wingdings" panose="05000000000000000000" pitchFamily="2" charset="2"/>
              <a:buChar char="§"/>
              <a:defRPr sz="3200"/>
            </a:lvl3pPr>
            <a:lvl4pPr marL="2438339" indent="-487668">
              <a:lnSpc>
                <a:spcPct val="110000"/>
              </a:lnSpc>
              <a:buFont typeface="Arial" panose="020B0604020202020204" pitchFamily="34" charset="0"/>
              <a:buChar char="-"/>
              <a:defRPr sz="3200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/>
              <a:t>Slide content should be simple</a:t>
            </a:r>
          </a:p>
          <a:p>
            <a:pPr lvl="1"/>
            <a:r>
              <a:rPr lang="en-US"/>
              <a:t>Bullet level 2</a:t>
            </a:r>
          </a:p>
          <a:p>
            <a:pPr lvl="2"/>
            <a:r>
              <a:rPr lang="en-US"/>
              <a:t>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033200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43962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40906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CA6926-E43B-48C0-9F51-BF5C430B4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677828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629" imgH="627" progId="TCLayout.ActiveDocument.1">
                  <p:embed/>
                </p:oleObj>
              </mc:Choice>
              <mc:Fallback>
                <p:oleObj name="think-cell Slide" r:id="rId21" imgW="629" imgH="6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CA6926-E43B-48C0-9F51-BF5C430B4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BB4B3B-BEA6-4CF4-A9F3-3E387CAC34F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pic>
        <p:nvPicPr>
          <p:cNvPr id="7" name="Picture 6" descr="background-ppt-biogen2-04.jp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143"/>
          </a:xfrm>
          <a:prstGeom prst="rect">
            <a:avLst/>
          </a:prstGeom>
        </p:spPr>
      </p:pic>
      <p:sp>
        <p:nvSpPr>
          <p:cNvPr id="8" name="Slide Number Placeholder 11"/>
          <p:cNvSpPr txBox="1">
            <a:spLocks/>
          </p:cNvSpPr>
          <p:nvPr/>
        </p:nvSpPr>
        <p:spPr>
          <a:xfrm>
            <a:off x="11725963" y="6492724"/>
            <a:ext cx="466037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 baseline="3000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79808A-BD48-6247-B53F-F089CE7B6EAB}" type="slidenum">
              <a:rPr lang="en-US" sz="1333" noProof="0" smtClean="0">
                <a:solidFill>
                  <a:srgbClr val="7C878E"/>
                </a:solidFill>
              </a:rPr>
              <a:pPr/>
              <a:t>‹#›</a:t>
            </a:fld>
            <a:endParaRPr lang="en-US" sz="1333" noProof="0">
              <a:solidFill>
                <a:srgbClr val="7C878E"/>
              </a:solidFill>
            </a:endParaRPr>
          </a:p>
        </p:txBody>
      </p:sp>
      <p:sp>
        <p:nvSpPr>
          <p:cNvPr id="12" name="Footer Placeholder 10"/>
          <p:cNvSpPr txBox="1">
            <a:spLocks/>
          </p:cNvSpPr>
          <p:nvPr/>
        </p:nvSpPr>
        <p:spPr>
          <a:xfrm>
            <a:off x="7865163" y="6494576"/>
            <a:ext cx="3860800" cy="365125"/>
          </a:xfrm>
          <a:prstGeom prst="rect">
            <a:avLst/>
          </a:prstGeom>
        </p:spPr>
        <p:txBody>
          <a:bodyPr anchor="b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lang="en-US" sz="1000" b="0" i="0" u="none" strike="noStrike" kern="1200" baseline="30000" smtClean="0">
                <a:solidFill>
                  <a:srgbClr val="2573BA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33" noProof="0">
                <a:solidFill>
                  <a:srgbClr val="7C878E"/>
                </a:solidFill>
              </a:rPr>
              <a:t>Biogen | Confidential and Proprietary</a:t>
            </a:r>
          </a:p>
        </p:txBody>
      </p:sp>
      <p:pic>
        <p:nvPicPr>
          <p:cNvPr id="9" name="Picture 8" descr="logo-02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27" y="6423968"/>
            <a:ext cx="1013720" cy="33655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077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idx="1"/>
          </p:nvPr>
        </p:nvSpPr>
        <p:spPr>
          <a:xfrm>
            <a:off x="609600" y="1463040"/>
            <a:ext cx="109728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ullet level 1</a:t>
            </a:r>
          </a:p>
          <a:p>
            <a:pPr lvl="2"/>
            <a:r>
              <a:rPr lang="en-US"/>
              <a:t>Bullet level 2</a:t>
            </a:r>
          </a:p>
          <a:p>
            <a:pPr lvl="3"/>
            <a:r>
              <a:rPr lang="en-US"/>
              <a:t>Bullet level 3</a:t>
            </a:r>
          </a:p>
          <a:p>
            <a:pPr lvl="4"/>
            <a:r>
              <a:rPr lang="en-US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122855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txStyles>
    <p:titleStyle>
      <a:lvl1pPr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None/>
        <a:defRPr sz="4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4267" kern="1200">
          <a:solidFill>
            <a:srgbClr val="7C878E"/>
          </a:solidFill>
          <a:latin typeface="+mn-lt"/>
          <a:ea typeface="+mn-ea"/>
          <a:cs typeface="+mn-cs"/>
        </a:defRPr>
      </a:lvl1pPr>
      <a:lvl2pPr marL="609585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4267" kern="1200" baseline="0">
          <a:solidFill>
            <a:srgbClr val="7C878E"/>
          </a:solidFill>
          <a:latin typeface="+mn-lt"/>
          <a:ea typeface="+mn-ea"/>
          <a:cs typeface="+mn-cs"/>
        </a:defRPr>
      </a:lvl2pPr>
      <a:lvl3pPr marL="1219170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Courier New" panose="02070309020205020404" pitchFamily="49" charset="0"/>
        <a:buChar char="o"/>
        <a:defRPr sz="3733" kern="1200">
          <a:solidFill>
            <a:srgbClr val="7C878E"/>
          </a:solidFill>
          <a:latin typeface="+mn-lt"/>
          <a:ea typeface="+mn-ea"/>
          <a:cs typeface="+mn-cs"/>
        </a:defRPr>
      </a:lvl3pPr>
      <a:lvl4pPr marL="1828754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3200" kern="1200">
          <a:solidFill>
            <a:srgbClr val="7C878E"/>
          </a:solidFill>
          <a:latin typeface="+mn-lt"/>
          <a:ea typeface="+mn-ea"/>
          <a:cs typeface="+mn-cs"/>
        </a:defRPr>
      </a:lvl4pPr>
      <a:lvl5pPr marL="2438339" indent="-609585" algn="l" defTabSz="609585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-"/>
        <a:defRPr sz="3200" kern="1200">
          <a:solidFill>
            <a:srgbClr val="7C878E"/>
          </a:solidFill>
          <a:latin typeface="+mn-lt"/>
          <a:ea typeface="+mn-ea"/>
          <a:cs typeface="+mn-cs"/>
        </a:defRPr>
      </a:lvl5pPr>
      <a:lvl6pPr marL="1950671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sz="3733" kern="1200">
          <a:solidFill>
            <a:srgbClr val="7C878E"/>
          </a:solidFill>
          <a:latin typeface="+mn-lt"/>
          <a:ea typeface="+mn-ea"/>
          <a:cs typeface="+mn-cs"/>
        </a:defRPr>
      </a:lvl6pPr>
      <a:lvl7pPr marL="2316422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7pPr>
      <a:lvl8pPr marL="2682173" indent="0" algn="l" defTabSz="609585" rtl="0" eaLnBrk="1" latinLnBrk="0" hangingPunct="1">
        <a:lnSpc>
          <a:spcPct val="140000"/>
        </a:lnSpc>
        <a:spcBef>
          <a:spcPts val="32"/>
        </a:spcBef>
        <a:buFont typeface="Arial"/>
        <a:buNone/>
        <a:defRPr sz="3733" kern="1200" baseline="0">
          <a:solidFill>
            <a:srgbClr val="7C878E"/>
          </a:solidFill>
          <a:latin typeface="+mn-lt"/>
          <a:ea typeface="+mn-ea"/>
          <a:cs typeface="+mn-cs"/>
        </a:defRPr>
      </a:lvl8pPr>
      <a:lvl9pPr marL="3047924" indent="0" algn="l" defTabSz="609585" rtl="0" eaLnBrk="1" latinLnBrk="0" hangingPunct="1">
        <a:lnSpc>
          <a:spcPct val="140000"/>
        </a:lnSpc>
        <a:spcBef>
          <a:spcPts val="32"/>
        </a:spcBef>
        <a:buFont typeface="Arial" panose="020B0604020202020204" pitchFamily="34" charset="0"/>
        <a:buNone/>
        <a:defRPr lang="en-US" sz="3733" kern="1200" baseline="0" dirty="0" smtClean="0">
          <a:solidFill>
            <a:srgbClr val="7C878E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1349404" y="5587457"/>
            <a:ext cx="4465469" cy="6286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PCS - Adhithiya Charli</a:t>
            </a:r>
          </a:p>
          <a:p>
            <a:pPr marL="0" marR="0" lvl="0" indent="0" algn="just" defTabSz="609585" rtl="0" eaLnBrk="1" fontAlgn="auto" latinLnBrk="0" hangingPunct="1">
              <a:lnSpc>
                <a:spcPct val="100000"/>
              </a:lnSpc>
              <a:spcBef>
                <a:spcPts val="63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2700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Computational Biology -  Zhen Gao and Dann Hu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835205" y="3136612"/>
            <a:ext cx="105215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Target Assessment (Risdiplam an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aplam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ion using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sl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B7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Seq Results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227061"/>
              </p:ext>
            </p:extLst>
          </p:nvPr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xample Sashimi-plot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E5DCE5-CA5D-C510-7C5F-275373B45AC5}"/>
              </a:ext>
            </a:extLst>
          </p:cNvPr>
          <p:cNvSpPr txBox="1"/>
          <p:nvPr/>
        </p:nvSpPr>
        <p:spPr>
          <a:xfrm>
            <a:off x="920272" y="5920108"/>
            <a:ext cx="10964092" cy="568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rgbClr val="00B050"/>
                </a:solidFill>
              </a:rPr>
              <a:t>Green </a:t>
            </a:r>
            <a:r>
              <a:rPr lang="en-US" sz="1100" dirty="0">
                <a:solidFill>
                  <a:srgbClr val="000000"/>
                </a:solidFill>
              </a:rPr>
              <a:t>– No safety issues based currently available info and data from studies and clinical trials. </a:t>
            </a:r>
          </a:p>
          <a:p>
            <a:pPr>
              <a:lnSpc>
                <a:spcPct val="150000"/>
              </a:lnSpc>
            </a:pPr>
            <a:r>
              <a:rPr lang="en-US" sz="1100" b="1" dirty="0">
                <a:solidFill>
                  <a:srgbClr val="FFFF00"/>
                </a:solidFill>
              </a:rPr>
              <a:t>Yellow </a:t>
            </a:r>
            <a:r>
              <a:rPr lang="en-US" sz="1100" dirty="0">
                <a:solidFill>
                  <a:srgbClr val="000000"/>
                </a:solidFill>
              </a:rPr>
              <a:t>– Unknown or unclear safety issues (hard to predict with current info in hand) ; modest genetic evidence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60A5F14A-BE3F-E10F-0DC7-C67ABB2D13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61" y="1782266"/>
            <a:ext cx="3230562" cy="2875188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38511762-AD41-76B1-C362-61A6AD9659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523" y="1782266"/>
            <a:ext cx="3051607" cy="292694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3BCFD14-9C64-05C5-A261-995FF6D739B3}"/>
              </a:ext>
            </a:extLst>
          </p:cNvPr>
          <p:cNvSpPr txBox="1"/>
          <p:nvPr/>
        </p:nvSpPr>
        <p:spPr>
          <a:xfrm>
            <a:off x="1498750" y="1255271"/>
            <a:ext cx="941283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SREK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752D6C-A789-03DD-5A75-B02569B62245}"/>
              </a:ext>
            </a:extLst>
          </p:cNvPr>
          <p:cNvSpPr txBox="1"/>
          <p:nvPr/>
        </p:nvSpPr>
        <p:spPr>
          <a:xfrm>
            <a:off x="5497117" y="1255271"/>
            <a:ext cx="1069524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UBAP2L</a:t>
            </a:r>
          </a:p>
        </p:txBody>
      </p:sp>
      <p:pic>
        <p:nvPicPr>
          <p:cNvPr id="17" name="Picture 16" descr="Chart, diagram&#10;&#10;Description automatically generated">
            <a:extLst>
              <a:ext uri="{FF2B5EF4-FFF2-40B4-BE49-F238E27FC236}">
                <a16:creationId xmlns:a16="http://schemas.microsoft.com/office/drawing/2014/main" id="{7E9BDDEF-D876-B084-7617-351CC86A93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9551" y="1782266"/>
            <a:ext cx="3686768" cy="29899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8FE0129-5DB0-CBA4-C307-324D3B8EF5EC}"/>
              </a:ext>
            </a:extLst>
          </p:cNvPr>
          <p:cNvSpPr txBox="1"/>
          <p:nvPr/>
        </p:nvSpPr>
        <p:spPr>
          <a:xfrm>
            <a:off x="9623726" y="1255271"/>
            <a:ext cx="928459" cy="3693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DX42</a:t>
            </a:r>
          </a:p>
        </p:txBody>
      </p:sp>
    </p:spTree>
    <p:extLst>
      <p:ext uri="{BB962C8B-B14F-4D97-AF65-F5344CB8AC3E}">
        <p14:creationId xmlns:p14="http://schemas.microsoft.com/office/powerpoint/2010/main" val="184377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4" y="1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l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Genes with largest |</a:t>
            </a:r>
            <a:r>
              <a:rPr lang="en-US" dirty="0" err="1">
                <a:solidFill>
                  <a:srgbClr val="FFFFFF"/>
                </a:solidFill>
                <a:latin typeface="Arial Narrow" panose="020B0606020202030204" pitchFamily="34" charset="0"/>
              </a:rPr>
              <a:t>dPSI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|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5AC36F-2A6A-5214-CDCC-D2E67D59F94C}"/>
              </a:ext>
            </a:extLst>
          </p:cNvPr>
          <p:cNvSpPr txBox="1"/>
          <p:nvPr/>
        </p:nvSpPr>
        <p:spPr>
          <a:xfrm>
            <a:off x="2391103" y="241159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573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9F45A82-97A7-527E-957D-B5F6A69A71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501080"/>
              </p:ext>
            </p:extLst>
          </p:nvPr>
        </p:nvGraphicFramePr>
        <p:xfrm>
          <a:off x="2986680" y="671844"/>
          <a:ext cx="4333931" cy="6125236"/>
        </p:xfrm>
        <a:graphic>
          <a:graphicData uri="http://schemas.openxmlformats.org/drawingml/2006/table">
            <a:tbl>
              <a:tblPr/>
              <a:tblGrid>
                <a:gridCol w="866786">
                  <a:extLst>
                    <a:ext uri="{9D8B030D-6E8A-4147-A177-3AD203B41FA5}">
                      <a16:colId xmlns:a16="http://schemas.microsoft.com/office/drawing/2014/main" val="1384743530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28025054"/>
                    </a:ext>
                  </a:extLst>
                </a:gridCol>
                <a:gridCol w="851216">
                  <a:extLst>
                    <a:ext uri="{9D8B030D-6E8A-4147-A177-3AD203B41FA5}">
                      <a16:colId xmlns:a16="http://schemas.microsoft.com/office/drawing/2014/main" val="2665520719"/>
                    </a:ext>
                  </a:extLst>
                </a:gridCol>
                <a:gridCol w="882357">
                  <a:extLst>
                    <a:ext uri="{9D8B030D-6E8A-4147-A177-3AD203B41FA5}">
                      <a16:colId xmlns:a16="http://schemas.microsoft.com/office/drawing/2014/main" val="1919858734"/>
                    </a:ext>
                  </a:extLst>
                </a:gridCol>
                <a:gridCol w="866786">
                  <a:extLst>
                    <a:ext uri="{9D8B030D-6E8A-4147-A177-3AD203B41FA5}">
                      <a16:colId xmlns:a16="http://schemas.microsoft.com/office/drawing/2014/main" val="3327143976"/>
                    </a:ext>
                  </a:extLst>
                </a:gridCol>
              </a:tblGrid>
              <a:tr h="123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ow.names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666" marR="2666" marT="2666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RG7916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10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PSI_LMI070_03x</a:t>
                      </a:r>
                    </a:p>
                  </a:txBody>
                  <a:tcPr marL="2666" marR="2666" marT="2666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96960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XDC2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0707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6747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57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808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7842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11-419C5.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314708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36708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4414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276532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17368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MT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06199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314360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N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196735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RP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5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17365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F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935433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AP2L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61452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63816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71368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36335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28906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GEF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95016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943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AP2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675309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CC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9550040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2709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94434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006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4187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S29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6693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PS7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88684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M65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3630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X4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123971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2000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848250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2783303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1694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XM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4554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43985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937051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394800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029635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1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208529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P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5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4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1061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TA18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58181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CR7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13077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818735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93796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09736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NND5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9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34436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LP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3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37975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9orf2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3690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1958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69665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4919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6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231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9603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V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489762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29901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826393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65093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EK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41953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546178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56591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2943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06755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74948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E2V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03572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GK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4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60351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S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5343196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69969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8711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86251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C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73181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94293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744099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1182949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59904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HLN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6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75549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GCT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41650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L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13390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41944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522513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AMTS1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47484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PVD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88279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756869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32968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77498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82260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74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458895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82931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675453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672881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3647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BXO3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412993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49339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3332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58460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22504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BP1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9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76949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2914938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38178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GF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39249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1568051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884195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961462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53261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1orf7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0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634219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P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72707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897592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03958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92137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195717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PD4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990566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352178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0352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0818893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726223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2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7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142682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PN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3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505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F326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2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54697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MD3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9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579389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69764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908277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166196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Z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794612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HD2A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5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7567191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198B</a:t>
                      </a:r>
                    </a:p>
                  </a:txBody>
                  <a:tcPr marL="2666" marR="2666" marT="2666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8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4979151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23680074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929153</a:t>
                      </a:r>
                    </a:p>
                  </a:txBody>
                  <a:tcPr marL="2666" marR="2666" marT="2666" marB="0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413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970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B1TT3XQYmAUsvmbDn0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Biogen Design 3 WIDE">
  <a:themeElements>
    <a:clrScheme name="Biogen Theme">
      <a:dk1>
        <a:srgbClr val="2573BA"/>
      </a:dk1>
      <a:lt1>
        <a:srgbClr val="FFFFFF"/>
      </a:lt1>
      <a:dk2>
        <a:srgbClr val="005B7F"/>
      </a:dk2>
      <a:lt2>
        <a:srgbClr val="7C878E"/>
      </a:lt2>
      <a:accent1>
        <a:srgbClr val="7CC3E2"/>
      </a:accent1>
      <a:accent2>
        <a:srgbClr val="5CA136"/>
      </a:accent2>
      <a:accent3>
        <a:srgbClr val="2573BA"/>
      </a:accent3>
      <a:accent4>
        <a:srgbClr val="99CA3C"/>
      </a:accent4>
      <a:accent5>
        <a:srgbClr val="C7DD72"/>
      </a:accent5>
      <a:accent6>
        <a:srgbClr val="DDE5AE"/>
      </a:accent6>
      <a:hlink>
        <a:srgbClr val="1E5DAC"/>
      </a:hlink>
      <a:folHlink>
        <a:srgbClr val="466E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6</TotalTime>
  <Words>396</Words>
  <Application>Microsoft Macintosh PowerPoint</Application>
  <PresentationFormat>Widescreen</PresentationFormat>
  <Paragraphs>28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Arial Narrow</vt:lpstr>
      <vt:lpstr>Calibri</vt:lpstr>
      <vt:lpstr>Courier New</vt:lpstr>
      <vt:lpstr>Wingdings</vt:lpstr>
      <vt:lpstr>4_Biogen Design 3 WIDE</vt:lpstr>
      <vt:lpstr>5_Biogen Design 3 WID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hithiya Manohar Charle</dc:creator>
  <cp:lastModifiedBy>Zhen Gao</cp:lastModifiedBy>
  <cp:revision>5</cp:revision>
  <dcterms:created xsi:type="dcterms:W3CDTF">2022-09-27T16:08:54Z</dcterms:created>
  <dcterms:modified xsi:type="dcterms:W3CDTF">2022-09-28T13:50:58Z</dcterms:modified>
</cp:coreProperties>
</file>